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2.xml" ContentType="application/vnd.openxmlformats-officedocument.presentationml.notesSlide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7"/>
  </p:notesMasterIdLst>
  <p:sldIdLst>
    <p:sldId id="303" r:id="rId5"/>
    <p:sldId id="262" r:id="rId6"/>
    <p:sldId id="306" r:id="rId7"/>
    <p:sldId id="314" r:id="rId8"/>
    <p:sldId id="261" r:id="rId9"/>
    <p:sldId id="296" r:id="rId10"/>
    <p:sldId id="304" r:id="rId11"/>
    <p:sldId id="1356" r:id="rId12"/>
    <p:sldId id="1357" r:id="rId13"/>
    <p:sldId id="291" r:id="rId14"/>
    <p:sldId id="274" r:id="rId15"/>
    <p:sldId id="300" r:id="rId16"/>
    <p:sldId id="1347" r:id="rId17"/>
    <p:sldId id="1348" r:id="rId18"/>
    <p:sldId id="1349" r:id="rId19"/>
    <p:sldId id="1350" r:id="rId20"/>
    <p:sldId id="1351" r:id="rId21"/>
    <p:sldId id="1352" r:id="rId22"/>
    <p:sldId id="1353" r:id="rId23"/>
    <p:sldId id="1354" r:id="rId24"/>
    <p:sldId id="1355" r:id="rId25"/>
    <p:sldId id="292" r:id="rId26"/>
  </p:sldIdLst>
  <p:sldSz cx="9631363" cy="7223125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53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30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4419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5187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30010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445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5375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2595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008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046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5388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3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30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apcoronavirusupdates.collegeboard.org/educators/course-schedule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61792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FRQ’s that address more than one major theme/thread and perhaps more parts than typical FRQ’s. We will practice these modified/longer </a:t>
            </a:r>
            <a:r>
              <a:rPr lang="en-US" sz="2400">
                <a:solidFill>
                  <a:srgbClr val="1E1E1E"/>
                </a:solidFill>
                <a:latin typeface="Roboto"/>
              </a:rPr>
              <a:t>FRQ’s next week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all problems in AP Statist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2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6"/>
            <a:ext cx="8905698" cy="1044843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2 Multiple Choice #37 Homework Problem 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Friday 05/0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55800"/>
            <a:ext cx="8905698" cy="47019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45534F5D-439E-A343-8ADD-C350F5EADD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848" y="2486071"/>
            <a:ext cx="8695665" cy="252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Log in at: </a:t>
            </a:r>
            <a:r>
              <a:rPr lang="en-US" b="1" dirty="0">
                <a:solidFill>
                  <a:schemeClr val="accent3"/>
                </a:solidFill>
              </a:rPr>
              <a:t>myap.collegeboard.org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2477D8-838C-4F6C-86A0-6C89FB0B41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70326" y="1944826"/>
            <a:ext cx="5490710" cy="370993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72156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Scroll to see your classes and access </a:t>
            </a:r>
            <a:r>
              <a:rPr lang="en-US" b="1" dirty="0"/>
              <a:t>AP Classroom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6A45313-C54B-4839-9783-AD3E460178C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5385"/>
          <a:stretch/>
        </p:blipFill>
        <p:spPr>
          <a:xfrm>
            <a:off x="1300453" y="1866666"/>
            <a:ext cx="6878050" cy="3848789"/>
          </a:xfrm>
          <a:prstGeom prst="rect">
            <a:avLst/>
          </a:prstGeom>
          <a:ln>
            <a:solidFill>
              <a:schemeClr val="bg1">
                <a:lumMod val="9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8369E629-4C06-46EF-9EDD-A3A3CF3A89A8}"/>
              </a:ext>
            </a:extLst>
          </p:cNvPr>
          <p:cNvSpPr/>
          <p:nvPr/>
        </p:nvSpPr>
        <p:spPr>
          <a:xfrm>
            <a:off x="7286925" y="2745943"/>
            <a:ext cx="1307360" cy="326393"/>
          </a:xfrm>
          <a:prstGeom prst="wedgeRectCallout">
            <a:avLst>
              <a:gd name="adj1" fmla="val -21653"/>
              <a:gd name="adj2" fmla="val -106484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Click here</a:t>
            </a:r>
          </a:p>
        </p:txBody>
      </p:sp>
    </p:spTree>
    <p:extLst>
      <p:ext uri="{BB962C8B-B14F-4D97-AF65-F5344CB8AC3E}">
        <p14:creationId xmlns:p14="http://schemas.microsoft.com/office/powerpoint/2010/main" val="14411944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to access </a:t>
            </a:r>
            <a:r>
              <a:rPr lang="en-US" b="1" dirty="0"/>
              <a:t>AP Live classes </a:t>
            </a:r>
            <a:r>
              <a:rPr lang="en-US" dirty="0"/>
              <a:t>or </a:t>
            </a:r>
            <a:r>
              <a:rPr lang="en-US" b="1" dirty="0"/>
              <a:t>Optional Practice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4CB1A1-90E0-44BB-A1CE-F3B98F0CE24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6225" b="8080"/>
          <a:stretch/>
        </p:blipFill>
        <p:spPr>
          <a:xfrm>
            <a:off x="821221" y="1891237"/>
            <a:ext cx="7988921" cy="38337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8369E629-4C06-46EF-9EDD-A3A3CF3A89A8}"/>
              </a:ext>
            </a:extLst>
          </p:cNvPr>
          <p:cNvSpPr/>
          <p:nvPr/>
        </p:nvSpPr>
        <p:spPr>
          <a:xfrm>
            <a:off x="1889004" y="4010436"/>
            <a:ext cx="1507989" cy="567953"/>
          </a:xfrm>
          <a:prstGeom prst="wedgeRectCallout">
            <a:avLst>
              <a:gd name="adj1" fmla="val -21653"/>
              <a:gd name="adj2" fmla="val -82831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fontScale="85000" lnSpcReduction="20000"/>
          </a:bodyPr>
          <a:lstStyle/>
          <a:p>
            <a:pPr algn="ctr"/>
            <a:r>
              <a:rPr lang="en-US" sz="15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Click here for Optional Student Practice</a:t>
            </a: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4751F1CF-A86D-49F9-B9A4-E51D8E123E73}"/>
              </a:ext>
            </a:extLst>
          </p:cNvPr>
          <p:cNvSpPr/>
          <p:nvPr/>
        </p:nvSpPr>
        <p:spPr>
          <a:xfrm>
            <a:off x="2957039" y="2447182"/>
            <a:ext cx="1507989" cy="567953"/>
          </a:xfrm>
          <a:prstGeom prst="wedgeRectCallout">
            <a:avLst>
              <a:gd name="adj1" fmla="val -21653"/>
              <a:gd name="adj2" fmla="val 79433"/>
            </a:avLst>
          </a:prstGeom>
          <a:solidFill>
            <a:srgbClr val="FFCCCC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fontScale="85000" lnSpcReduction="20000"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+mj-lt"/>
              </a:rPr>
              <a:t>Click here AP Live classes on YouTube</a:t>
            </a:r>
          </a:p>
        </p:txBody>
      </p:sp>
    </p:spTree>
    <p:extLst>
      <p:ext uri="{BB962C8B-B14F-4D97-AF65-F5344CB8AC3E}">
        <p14:creationId xmlns:p14="http://schemas.microsoft.com/office/powerpoint/2010/main" val="4261705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</a:t>
            </a:r>
            <a:r>
              <a:rPr lang="en-US" b="1" dirty="0"/>
              <a:t>Begin </a:t>
            </a:r>
            <a:r>
              <a:rPr lang="en-US" dirty="0"/>
              <a:t>or</a:t>
            </a:r>
            <a:r>
              <a:rPr lang="en-US" b="1" dirty="0"/>
              <a:t> Continue </a:t>
            </a:r>
            <a:r>
              <a:rPr lang="en-US" dirty="0"/>
              <a:t>to start a question 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479D055-2A3D-49C0-A789-2A7CB8171B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7922" y="1857814"/>
            <a:ext cx="7415518" cy="387129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96B410B7-9DDE-447A-87AE-1C494CFEDEA5}"/>
              </a:ext>
            </a:extLst>
          </p:cNvPr>
          <p:cNvSpPr/>
          <p:nvPr/>
        </p:nvSpPr>
        <p:spPr>
          <a:xfrm>
            <a:off x="8047766" y="3737225"/>
            <a:ext cx="1307360" cy="326393"/>
          </a:xfrm>
          <a:prstGeom prst="wedgeRectCallout">
            <a:avLst>
              <a:gd name="adj1" fmla="val -63456"/>
              <a:gd name="adj2" fmla="val 24843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Click here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B0A27A5C-7E6B-4F76-84CC-2AD7B8920261}"/>
              </a:ext>
            </a:extLst>
          </p:cNvPr>
          <p:cNvSpPr/>
          <p:nvPr/>
        </p:nvSpPr>
        <p:spPr>
          <a:xfrm>
            <a:off x="8047765" y="4602120"/>
            <a:ext cx="1307360" cy="326393"/>
          </a:xfrm>
          <a:prstGeom prst="wedgeRectCallout">
            <a:avLst>
              <a:gd name="adj1" fmla="val -63456"/>
              <a:gd name="adj2" fmla="val 24843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Click here</a:t>
            </a:r>
          </a:p>
        </p:txBody>
      </p:sp>
    </p:spTree>
    <p:extLst>
      <p:ext uri="{BB962C8B-B14F-4D97-AF65-F5344CB8AC3E}">
        <p14:creationId xmlns:p14="http://schemas.microsoft.com/office/powerpoint/2010/main" val="3753997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Type or upload your response. Then, click </a:t>
            </a:r>
            <a:r>
              <a:rPr lang="en-US" b="1" dirty="0"/>
              <a:t>Submit</a:t>
            </a:r>
            <a:r>
              <a:rPr lang="en-US" dirty="0"/>
              <a:t>.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D75799-FA91-4E25-A1B5-42431D1CB4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8409" y="1787114"/>
            <a:ext cx="8562138" cy="397366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C5014C08-1BBA-4F3D-BB18-13785E578300}"/>
              </a:ext>
            </a:extLst>
          </p:cNvPr>
          <p:cNvSpPr/>
          <p:nvPr/>
        </p:nvSpPr>
        <p:spPr>
          <a:xfrm>
            <a:off x="7126184" y="4396217"/>
            <a:ext cx="1403803" cy="478716"/>
          </a:xfrm>
          <a:prstGeom prst="wedgeRectCallout">
            <a:avLst>
              <a:gd name="adj1" fmla="val -45295"/>
              <a:gd name="adj2" fmla="val 119090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lnSpcReduction="10000"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Enter your response here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267A0CBB-232C-4D75-BF95-6980058BBA43}"/>
              </a:ext>
            </a:extLst>
          </p:cNvPr>
          <p:cNvSpPr/>
          <p:nvPr/>
        </p:nvSpPr>
        <p:spPr>
          <a:xfrm>
            <a:off x="6950856" y="2966215"/>
            <a:ext cx="1507989" cy="829902"/>
          </a:xfrm>
          <a:prstGeom prst="wedgeRectCallout">
            <a:avLst>
              <a:gd name="adj1" fmla="val 61489"/>
              <a:gd name="adj2" fmla="val -21958"/>
            </a:avLst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r>
              <a:rPr lang="en-US" sz="1500" b="1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Click submit when you are finished</a:t>
            </a:r>
          </a:p>
        </p:txBody>
      </p:sp>
    </p:spTree>
    <p:extLst>
      <p:ext uri="{BB962C8B-B14F-4D97-AF65-F5344CB8AC3E}">
        <p14:creationId xmlns:p14="http://schemas.microsoft.com/office/powerpoint/2010/main" val="757256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</a:t>
            </a:r>
            <a:r>
              <a:rPr lang="en-US" b="1" dirty="0"/>
              <a:t>Yes </a:t>
            </a:r>
            <a:r>
              <a:rPr lang="en-US" dirty="0"/>
              <a:t>to continue to submit your response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816A7B-FB41-4E00-B53B-7F8DFD7070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2328" y="1810327"/>
            <a:ext cx="8506707" cy="395754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860233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Click </a:t>
            </a:r>
            <a:r>
              <a:rPr lang="en-US" b="1" dirty="0"/>
              <a:t>Yes, Review </a:t>
            </a:r>
            <a:r>
              <a:rPr lang="en-US" dirty="0"/>
              <a:t>to see Scoring Guidelines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A439BB8-18FD-4CA2-A85B-43F0353D9A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822" y="1778744"/>
            <a:ext cx="8615718" cy="400762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377517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379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Scroll down to see Scoring Guidelines for each part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3D9D95-E529-467D-B5B8-3FC112868F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0826" y="1772360"/>
            <a:ext cx="8629710" cy="399169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0B6D17A9-C05B-43B4-8974-6497E0B61F3B}"/>
              </a:ext>
            </a:extLst>
          </p:cNvPr>
          <p:cNvSpPr/>
          <p:nvPr/>
        </p:nvSpPr>
        <p:spPr>
          <a:xfrm>
            <a:off x="6429640" y="4031871"/>
            <a:ext cx="2303955" cy="1168051"/>
          </a:xfrm>
          <a:prstGeom prst="wedgeRectCallout">
            <a:avLst>
              <a:gd name="adj1" fmla="val -68064"/>
              <a:gd name="adj2" fmla="val -20284"/>
            </a:avLst>
          </a:prstGeom>
          <a:solidFill>
            <a:srgbClr val="CCFFCC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 lnSpcReduction="10000"/>
          </a:bodyPr>
          <a:lstStyle/>
          <a:p>
            <a:pPr algn="ctr"/>
            <a:r>
              <a:rPr lang="en-US" sz="1500" b="1" dirty="0">
                <a:solidFill>
                  <a:srgbClr val="008000"/>
                </a:solidFill>
                <a:latin typeface="+mj-lt"/>
              </a:rPr>
              <a:t>Review to see examples of what a response should include to earn the maximum number </a:t>
            </a:r>
            <a:br>
              <a:rPr lang="en-US" sz="1500" b="1" dirty="0">
                <a:solidFill>
                  <a:srgbClr val="008000"/>
                </a:solidFill>
                <a:latin typeface="+mj-lt"/>
              </a:rPr>
            </a:br>
            <a:r>
              <a:rPr lang="en-US" sz="1500" b="1" dirty="0">
                <a:solidFill>
                  <a:srgbClr val="008000"/>
                </a:solidFill>
                <a:latin typeface="+mj-lt"/>
              </a:rPr>
              <a:t>of points</a:t>
            </a:r>
          </a:p>
        </p:txBody>
      </p:sp>
    </p:spTree>
    <p:extLst>
      <p:ext uri="{BB962C8B-B14F-4D97-AF65-F5344CB8AC3E}">
        <p14:creationId xmlns:p14="http://schemas.microsoft.com/office/powerpoint/2010/main" val="37669844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F10E68-03A7-4043-B783-269EA25E1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F10E68-03A7-4043-B783-269EA25E1E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155A2EC-57DE-45DC-AB7B-12AC2BDEE4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2700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281594" y="1328090"/>
            <a:ext cx="8915767" cy="326393"/>
          </a:xfrm>
        </p:spPr>
        <p:txBody>
          <a:bodyPr/>
          <a:lstStyle/>
          <a:p>
            <a:r>
              <a:rPr lang="en-US" dirty="0"/>
              <a:t>Revise, then click </a:t>
            </a:r>
            <a:r>
              <a:rPr lang="en-US" b="1"/>
              <a:t>Submit </a:t>
            </a:r>
            <a:r>
              <a:rPr lang="en-US"/>
              <a:t>&amp; </a:t>
            </a:r>
            <a:r>
              <a:rPr lang="en-US" b="1" dirty="0"/>
              <a:t>No, Submit Now </a:t>
            </a:r>
            <a:r>
              <a:rPr lang="en-US" dirty="0"/>
              <a:t>to finish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9525" y="912304"/>
            <a:ext cx="6667775" cy="69918"/>
          </a:xfrm>
          <a:prstGeom prst="rect">
            <a:avLst/>
          </a:prstGeom>
          <a:noFill/>
        </p:spPr>
        <p:txBody>
          <a:bodyPr vert="horz" wrap="square" lIns="27001" tIns="27001" rIns="27001" bIns="27001" rtlCol="0">
            <a:spAutoFit/>
          </a:bodyPr>
          <a:lstStyle/>
          <a:p>
            <a:pPr defTabSz="685800">
              <a:defRPr/>
            </a:pPr>
            <a:endParaRPr lang="en-US" sz="10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81DF3B-CF9D-4573-A75B-06B2C802F3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706" y="1833747"/>
            <a:ext cx="8437950" cy="394484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748091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 - 2002 Multiple Choice #24 Homework Problem Wednesday 04/29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602436"/>
            <a:ext cx="9087089" cy="50097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9042EF77-08C5-D849-BE7D-293EA84EB0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6756" y="2192246"/>
            <a:ext cx="8765089" cy="283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0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000" dirty="0"/>
          </a:p>
          <a:p>
            <a:pPr algn="ctr"/>
            <a:r>
              <a:rPr lang="en-US" sz="2000" dirty="0">
                <a:hlinkClick r:id="rId9"/>
              </a:rPr>
              <a:t>https://apstudents.collegeboard.org/coronavirus-updat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  <a:hlinkClick r:id="rId10"/>
              </a:rPr>
              <a:t>https://apcoronavirusupdates.collegeboard.org/educators/course-schedule</a:t>
            </a:r>
            <a:endParaRPr lang="en-US" sz="2000" dirty="0">
              <a:solidFill>
                <a:srgbClr val="1E1E1E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1E1E1E"/>
              </a:solidFill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</a:rPr>
              <a:t>Scroll down to Math And Science, click on AP Statistics, Expand 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594" y="567059"/>
            <a:ext cx="8915768" cy="538747"/>
          </a:xfrm>
        </p:spPr>
        <p:txBody>
          <a:bodyPr/>
          <a:lstStyle/>
          <a:p>
            <a:r>
              <a:rPr lang="en-US" dirty="0"/>
              <a:t>2018 AP Statistics – Free Response #1 (Modified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8286E440-4FD0-0141-9422-5866EF9D9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3813" y="1220943"/>
            <a:ext cx="7351330" cy="495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8 - AP Statistics Free Response #1 Modified (continued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94869" y="1546457"/>
            <a:ext cx="8929043" cy="46860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What is the equation of the least-squares regression line? Identify your variables.</a:t>
            </a: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Identify and interpret in context the estimate for the intercept of the least-squares regression line.</a:t>
            </a: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Interpret in context the slope of the least-squares regression line.</a:t>
            </a: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Identify and interpret in context the coefficient of determination, r^2</a:t>
            </a: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Calculate and interpret in context the correlation coefficient, r.</a:t>
            </a: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One of the data points was determined to be an outlier. Circle the point on the scatterplot and explain why the point is considered an outlier.</a:t>
            </a: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Interpret in context the meaning of the point (outlier) you circled in part f.</a:t>
            </a:r>
          </a:p>
          <a:p>
            <a:pPr marL="525780" lvl="0" indent="-342900">
              <a:spcBef>
                <a:spcPts val="1600"/>
              </a:spcBef>
              <a:buSzPct val="100000"/>
              <a:buFont typeface="+mj-lt"/>
              <a:buAutoNum type="alphaLcParenR"/>
            </a:pPr>
            <a:r>
              <a:rPr lang="en-US" altLang="zh-CN" dirty="0"/>
              <a:t>Calculate/estimate the residual for the point (outlier) t you circled in part f.</a:t>
            </a: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7 - AP Statistics Free Response #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94869" y="1546457"/>
            <a:ext cx="8929043" cy="449266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EA5E069-5AAC-7149-A5F7-160FA4DE53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461" y="1906446"/>
            <a:ext cx="8295858" cy="377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812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2 - AP Statistics Free Response #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68319" y="1099233"/>
            <a:ext cx="8929043" cy="53975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8F886259-FC21-ED47-AD84-52930A0299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6397" y="1184001"/>
            <a:ext cx="5357613" cy="5227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75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gYUK61ZUR3gVR7V2G3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985</TotalTime>
  <Words>481</Words>
  <Application>Microsoft Macintosh PowerPoint</Application>
  <PresentationFormat>Custom</PresentationFormat>
  <Paragraphs>161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 - 2002 Multiple Choice #24 Homework Problem Wednesday 04/29</vt:lpstr>
      <vt:lpstr>UPDATES FOR STUDENTS/TEACHERS</vt:lpstr>
      <vt:lpstr>PowerPoint Presentation</vt:lpstr>
      <vt:lpstr>2018 AP Statistics – Free Response #1 (Modified)</vt:lpstr>
      <vt:lpstr>2018 - AP Statistics Free Response #1 Modified (continued)</vt:lpstr>
      <vt:lpstr>2007 - AP Statistics Free Response #5</vt:lpstr>
      <vt:lpstr>2002 - AP Statistics Free Response #4</vt:lpstr>
      <vt:lpstr>PowerPoint Presentation</vt:lpstr>
      <vt:lpstr>DEBRIEF AND SUMMARY</vt:lpstr>
      <vt:lpstr>2002 Multiple Choice #37 Homework Problem  Friday 05/01</vt:lpstr>
      <vt:lpstr>Log in at: myap.collegeboard.org</vt:lpstr>
      <vt:lpstr>Scroll to see your classes and access AP Classroom</vt:lpstr>
      <vt:lpstr>Click to access AP Live classes or Optional Practice</vt:lpstr>
      <vt:lpstr>Click Begin or Continue to start a question </vt:lpstr>
      <vt:lpstr>Type or upload your response. Then, click Submit.</vt:lpstr>
      <vt:lpstr>Click Yes to continue to submit your response</vt:lpstr>
      <vt:lpstr>Click Yes, Review to see Scoring Guidelines</vt:lpstr>
      <vt:lpstr>Scroll down to see Scoring Guidelines for each part</vt:lpstr>
      <vt:lpstr>Revise, then click Submit &amp; No, Submit Now to finish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128</cp:revision>
  <dcterms:created xsi:type="dcterms:W3CDTF">2019-04-30T21:25:41Z</dcterms:created>
  <dcterms:modified xsi:type="dcterms:W3CDTF">2020-04-30T15:04:3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